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C8-4FED-8FAC-26D9EB6B45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C8-4FED-8FAC-26D9EB6B45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C8-4FED-8FAC-26D9EB6B45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01696608"/>
        <c:axId val="1"/>
      </c:barChart>
      <c:catAx>
        <c:axId val="1201696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12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16966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1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 w="25366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2657E1-7CBD-A6A7-FCF4-1D1EF2130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BF85C16-6E15-1C7B-F399-0BABA66C5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85C16-6E15-1C7B-F399-0BABA66C5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D9677-70D1-D03D-E91D-50F084D93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9A5F05-D098-CED3-E11C-7F66A527F6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5">
            <a:extLst>
              <a:ext uri="{FF2B5EF4-FFF2-40B4-BE49-F238E27FC236}">
                <a16:creationId xmlns:a16="http://schemas.microsoft.com/office/drawing/2014/main" id="{3681B647-983D-3443-C29A-81E323EF31AC}"/>
              </a:ext>
            </a:extLst>
          </p:cNvPr>
          <p:cNvGraphicFramePr>
            <a:graphicFrameLocks/>
          </p:cNvGraphicFramePr>
          <p:nvPr/>
        </p:nvGraphicFramePr>
        <p:xfrm>
          <a:off x="419099" y="1088288"/>
          <a:ext cx="5883275" cy="477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1EA1E5F-C126-4097-0F69-41690185AD39}"/>
              </a:ext>
            </a:extLst>
          </p:cNvPr>
          <p:cNvSpPr/>
          <p:nvPr/>
        </p:nvSpPr>
        <p:spPr>
          <a:xfrm>
            <a:off x="6621463" y="1269683"/>
            <a:ext cx="1000125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48E420-7744-CF85-CEC6-03FC3BB1A28C}"/>
              </a:ext>
            </a:extLst>
          </p:cNvPr>
          <p:cNvSpPr/>
          <p:nvPr/>
        </p:nvSpPr>
        <p:spPr>
          <a:xfrm>
            <a:off x="6621463" y="2458720"/>
            <a:ext cx="1000125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404279-062D-9220-3710-245490E11EE6}"/>
              </a:ext>
            </a:extLst>
          </p:cNvPr>
          <p:cNvSpPr/>
          <p:nvPr/>
        </p:nvSpPr>
        <p:spPr>
          <a:xfrm>
            <a:off x="6621463" y="3654108"/>
            <a:ext cx="1000125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6" name="Freeform 139">
            <a:extLst>
              <a:ext uri="{FF2B5EF4-FFF2-40B4-BE49-F238E27FC236}">
                <a16:creationId xmlns:a16="http://schemas.microsoft.com/office/drawing/2014/main" id="{B9753C28-E876-87E9-1AE4-7BD09D41409F}"/>
              </a:ext>
            </a:extLst>
          </p:cNvPr>
          <p:cNvSpPr>
            <a:spLocks noEditPoints="1"/>
          </p:cNvSpPr>
          <p:nvPr/>
        </p:nvSpPr>
        <p:spPr bwMode="auto">
          <a:xfrm>
            <a:off x="6889750" y="1490345"/>
            <a:ext cx="474663" cy="530225"/>
          </a:xfrm>
          <a:custGeom>
            <a:avLst/>
            <a:gdLst>
              <a:gd name="T0" fmla="*/ 474829 w 49"/>
              <a:gd name="T1" fmla="*/ 86776 h 61"/>
              <a:gd name="T2" fmla="*/ 0 w 49"/>
              <a:gd name="T3" fmla="*/ 86776 h 61"/>
              <a:gd name="T4" fmla="*/ 0 w 49"/>
              <a:gd name="T5" fmla="*/ 69420 h 61"/>
              <a:gd name="T6" fmla="*/ 67833 w 49"/>
              <a:gd name="T7" fmla="*/ 0 h 61"/>
              <a:gd name="T8" fmla="*/ 397306 w 49"/>
              <a:gd name="T9" fmla="*/ 0 h 61"/>
              <a:gd name="T10" fmla="*/ 474829 w 49"/>
              <a:gd name="T11" fmla="*/ 69420 h 61"/>
              <a:gd name="T12" fmla="*/ 474829 w 49"/>
              <a:gd name="T13" fmla="*/ 86776 h 61"/>
              <a:gd name="T14" fmla="*/ 474829 w 49"/>
              <a:gd name="T15" fmla="*/ 208261 h 61"/>
              <a:gd name="T16" fmla="*/ 0 w 49"/>
              <a:gd name="T17" fmla="*/ 208261 h 61"/>
              <a:gd name="T18" fmla="*/ 0 w 49"/>
              <a:gd name="T19" fmla="*/ 112808 h 61"/>
              <a:gd name="T20" fmla="*/ 474829 w 49"/>
              <a:gd name="T21" fmla="*/ 112808 h 61"/>
              <a:gd name="T22" fmla="*/ 474829 w 49"/>
              <a:gd name="T23" fmla="*/ 208261 h 61"/>
              <a:gd name="T24" fmla="*/ 474829 w 49"/>
              <a:gd name="T25" fmla="*/ 321070 h 61"/>
              <a:gd name="T26" fmla="*/ 0 w 49"/>
              <a:gd name="T27" fmla="*/ 321070 h 61"/>
              <a:gd name="T28" fmla="*/ 0 w 49"/>
              <a:gd name="T29" fmla="*/ 234294 h 61"/>
              <a:gd name="T30" fmla="*/ 474829 w 49"/>
              <a:gd name="T31" fmla="*/ 234294 h 61"/>
              <a:gd name="T32" fmla="*/ 474829 w 49"/>
              <a:gd name="T33" fmla="*/ 321070 h 61"/>
              <a:gd name="T34" fmla="*/ 474829 w 49"/>
              <a:gd name="T35" fmla="*/ 364457 h 61"/>
              <a:gd name="T36" fmla="*/ 397306 w 49"/>
              <a:gd name="T37" fmla="*/ 433878 h 61"/>
              <a:gd name="T38" fmla="*/ 377925 w 49"/>
              <a:gd name="T39" fmla="*/ 433878 h 61"/>
              <a:gd name="T40" fmla="*/ 281021 w 49"/>
              <a:gd name="T41" fmla="*/ 529331 h 61"/>
              <a:gd name="T42" fmla="*/ 281021 w 49"/>
              <a:gd name="T43" fmla="*/ 433878 h 61"/>
              <a:gd name="T44" fmla="*/ 67833 w 49"/>
              <a:gd name="T45" fmla="*/ 433878 h 61"/>
              <a:gd name="T46" fmla="*/ 0 w 49"/>
              <a:gd name="T47" fmla="*/ 364457 h 61"/>
              <a:gd name="T48" fmla="*/ 0 w 49"/>
              <a:gd name="T49" fmla="*/ 347102 h 61"/>
              <a:gd name="T50" fmla="*/ 474829 w 49"/>
              <a:gd name="T51" fmla="*/ 347102 h 61"/>
              <a:gd name="T52" fmla="*/ 474829 w 49"/>
              <a:gd name="T53" fmla="*/ 364457 h 6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9" h="61">
                <a:moveTo>
                  <a:pt x="49" y="10"/>
                </a:moveTo>
                <a:cubicBezTo>
                  <a:pt x="0" y="10"/>
                  <a:pt x="0" y="10"/>
                  <a:pt x="0" y="10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7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6" y="0"/>
                  <a:pt x="49" y="3"/>
                  <a:pt x="49" y="8"/>
                </a:cubicBezTo>
                <a:lnTo>
                  <a:pt x="49" y="10"/>
                </a:lnTo>
                <a:close/>
                <a:moveTo>
                  <a:pt x="49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13"/>
                  <a:pt x="0" y="13"/>
                  <a:pt x="0" y="13"/>
                </a:cubicBezTo>
                <a:cubicBezTo>
                  <a:pt x="49" y="13"/>
                  <a:pt x="49" y="13"/>
                  <a:pt x="49" y="13"/>
                </a:cubicBezTo>
                <a:lnTo>
                  <a:pt x="49" y="24"/>
                </a:lnTo>
                <a:close/>
                <a:moveTo>
                  <a:pt x="49" y="37"/>
                </a:moveTo>
                <a:cubicBezTo>
                  <a:pt x="0" y="37"/>
                  <a:pt x="0" y="37"/>
                  <a:pt x="0" y="37"/>
                </a:cubicBezTo>
                <a:cubicBezTo>
                  <a:pt x="0" y="27"/>
                  <a:pt x="0" y="27"/>
                  <a:pt x="0" y="27"/>
                </a:cubicBezTo>
                <a:cubicBezTo>
                  <a:pt x="49" y="27"/>
                  <a:pt x="49" y="27"/>
                  <a:pt x="49" y="27"/>
                </a:cubicBezTo>
                <a:lnTo>
                  <a:pt x="49" y="37"/>
                </a:lnTo>
                <a:close/>
                <a:moveTo>
                  <a:pt x="49" y="42"/>
                </a:moveTo>
                <a:cubicBezTo>
                  <a:pt x="49" y="47"/>
                  <a:pt x="46" y="50"/>
                  <a:pt x="41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29" y="61"/>
                  <a:pt x="29" y="61"/>
                  <a:pt x="29" y="61"/>
                </a:cubicBezTo>
                <a:cubicBezTo>
                  <a:pt x="29" y="50"/>
                  <a:pt x="29" y="50"/>
                  <a:pt x="29" y="50"/>
                </a:cubicBezTo>
                <a:cubicBezTo>
                  <a:pt x="7" y="50"/>
                  <a:pt x="7" y="50"/>
                  <a:pt x="7" y="50"/>
                </a:cubicBezTo>
                <a:cubicBezTo>
                  <a:pt x="3" y="50"/>
                  <a:pt x="0" y="47"/>
                  <a:pt x="0" y="42"/>
                </a:cubicBezTo>
                <a:cubicBezTo>
                  <a:pt x="0" y="40"/>
                  <a:pt x="0" y="40"/>
                  <a:pt x="0" y="40"/>
                </a:cubicBezTo>
                <a:cubicBezTo>
                  <a:pt x="49" y="40"/>
                  <a:pt x="49" y="40"/>
                  <a:pt x="49" y="40"/>
                </a:cubicBezTo>
                <a:lnTo>
                  <a:pt x="49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8" name="Freeform 221">
            <a:extLst>
              <a:ext uri="{FF2B5EF4-FFF2-40B4-BE49-F238E27FC236}">
                <a16:creationId xmlns:a16="http://schemas.microsoft.com/office/drawing/2014/main" id="{B32860C1-4383-549D-7FA2-56606B688DF0}"/>
              </a:ext>
            </a:extLst>
          </p:cNvPr>
          <p:cNvSpPr>
            <a:spLocks noEditPoints="1"/>
          </p:cNvSpPr>
          <p:nvPr/>
        </p:nvSpPr>
        <p:spPr bwMode="auto">
          <a:xfrm>
            <a:off x="6880225" y="2739708"/>
            <a:ext cx="490538" cy="450850"/>
          </a:xfrm>
          <a:custGeom>
            <a:avLst/>
            <a:gdLst>
              <a:gd name="T0" fmla="*/ 165958 w 59"/>
              <a:gd name="T1" fmla="*/ 132309 h 58"/>
              <a:gd name="T2" fmla="*/ 141065 w 59"/>
              <a:gd name="T3" fmla="*/ 147874 h 58"/>
              <a:gd name="T4" fmla="*/ 24894 w 59"/>
              <a:gd name="T5" fmla="*/ 147874 h 58"/>
              <a:gd name="T6" fmla="*/ 0 w 59"/>
              <a:gd name="T7" fmla="*/ 132309 h 58"/>
              <a:gd name="T8" fmla="*/ 0 w 59"/>
              <a:gd name="T9" fmla="*/ 15566 h 58"/>
              <a:gd name="T10" fmla="*/ 24894 w 59"/>
              <a:gd name="T11" fmla="*/ 0 h 58"/>
              <a:gd name="T12" fmla="*/ 141065 w 59"/>
              <a:gd name="T13" fmla="*/ 0 h 58"/>
              <a:gd name="T14" fmla="*/ 165958 w 59"/>
              <a:gd name="T15" fmla="*/ 15566 h 58"/>
              <a:gd name="T16" fmla="*/ 165958 w 59"/>
              <a:gd name="T17" fmla="*/ 132309 h 58"/>
              <a:gd name="T18" fmla="*/ 489577 w 59"/>
              <a:gd name="T19" fmla="*/ 241269 h 58"/>
              <a:gd name="T20" fmla="*/ 248937 w 59"/>
              <a:gd name="T21" fmla="*/ 451406 h 58"/>
              <a:gd name="T22" fmla="*/ 0 w 59"/>
              <a:gd name="T23" fmla="*/ 241269 h 58"/>
              <a:gd name="T24" fmla="*/ 0 w 59"/>
              <a:gd name="T25" fmla="*/ 202354 h 58"/>
              <a:gd name="T26" fmla="*/ 24894 w 59"/>
              <a:gd name="T27" fmla="*/ 186789 h 58"/>
              <a:gd name="T28" fmla="*/ 141065 w 59"/>
              <a:gd name="T29" fmla="*/ 186789 h 58"/>
              <a:gd name="T30" fmla="*/ 165958 w 59"/>
              <a:gd name="T31" fmla="*/ 202354 h 58"/>
              <a:gd name="T32" fmla="*/ 165958 w 59"/>
              <a:gd name="T33" fmla="*/ 241269 h 58"/>
              <a:gd name="T34" fmla="*/ 248937 w 59"/>
              <a:gd name="T35" fmla="*/ 295749 h 58"/>
              <a:gd name="T36" fmla="*/ 323619 w 59"/>
              <a:gd name="T37" fmla="*/ 241269 h 58"/>
              <a:gd name="T38" fmla="*/ 323619 w 59"/>
              <a:gd name="T39" fmla="*/ 202354 h 58"/>
              <a:gd name="T40" fmla="*/ 348512 w 59"/>
              <a:gd name="T41" fmla="*/ 186789 h 58"/>
              <a:gd name="T42" fmla="*/ 464683 w 59"/>
              <a:gd name="T43" fmla="*/ 186789 h 58"/>
              <a:gd name="T44" fmla="*/ 489577 w 59"/>
              <a:gd name="T45" fmla="*/ 202354 h 58"/>
              <a:gd name="T46" fmla="*/ 489577 w 59"/>
              <a:gd name="T47" fmla="*/ 241269 h 58"/>
              <a:gd name="T48" fmla="*/ 489577 w 59"/>
              <a:gd name="T49" fmla="*/ 132309 h 58"/>
              <a:gd name="T50" fmla="*/ 464683 w 59"/>
              <a:gd name="T51" fmla="*/ 147874 h 58"/>
              <a:gd name="T52" fmla="*/ 348512 w 59"/>
              <a:gd name="T53" fmla="*/ 147874 h 58"/>
              <a:gd name="T54" fmla="*/ 323619 w 59"/>
              <a:gd name="T55" fmla="*/ 132309 h 58"/>
              <a:gd name="T56" fmla="*/ 323619 w 59"/>
              <a:gd name="T57" fmla="*/ 15566 h 58"/>
              <a:gd name="T58" fmla="*/ 348512 w 59"/>
              <a:gd name="T59" fmla="*/ 0 h 58"/>
              <a:gd name="T60" fmla="*/ 464683 w 59"/>
              <a:gd name="T61" fmla="*/ 0 h 58"/>
              <a:gd name="T62" fmla="*/ 489577 w 59"/>
              <a:gd name="T63" fmla="*/ 15566 h 58"/>
              <a:gd name="T64" fmla="*/ 489577 w 59"/>
              <a:gd name="T65" fmla="*/ 132309 h 5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9" h="58">
                <a:moveTo>
                  <a:pt x="20" y="17"/>
                </a:moveTo>
                <a:cubicBezTo>
                  <a:pt x="20" y="18"/>
                  <a:pt x="19" y="19"/>
                  <a:pt x="17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2" y="19"/>
                  <a:pt x="0" y="18"/>
                  <a:pt x="0" y="17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9" y="0"/>
                  <a:pt x="20" y="1"/>
                  <a:pt x="20" y="2"/>
                </a:cubicBezTo>
                <a:lnTo>
                  <a:pt x="20" y="17"/>
                </a:lnTo>
                <a:close/>
                <a:moveTo>
                  <a:pt x="59" y="31"/>
                </a:moveTo>
                <a:cubicBezTo>
                  <a:pt x="59" y="47"/>
                  <a:pt x="46" y="58"/>
                  <a:pt x="30" y="58"/>
                </a:cubicBezTo>
                <a:cubicBezTo>
                  <a:pt x="13" y="58"/>
                  <a:pt x="0" y="47"/>
                  <a:pt x="0" y="31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5"/>
                  <a:pt x="2" y="24"/>
                  <a:pt x="3" y="24"/>
                </a:cubicBezTo>
                <a:cubicBezTo>
                  <a:pt x="17" y="24"/>
                  <a:pt x="17" y="24"/>
                  <a:pt x="17" y="24"/>
                </a:cubicBezTo>
                <a:cubicBezTo>
                  <a:pt x="19" y="24"/>
                  <a:pt x="20" y="25"/>
                  <a:pt x="20" y="26"/>
                </a:cubicBezTo>
                <a:cubicBezTo>
                  <a:pt x="20" y="31"/>
                  <a:pt x="20" y="31"/>
                  <a:pt x="20" y="31"/>
                </a:cubicBezTo>
                <a:cubicBezTo>
                  <a:pt x="20" y="38"/>
                  <a:pt x="28" y="38"/>
                  <a:pt x="30" y="38"/>
                </a:cubicBezTo>
                <a:cubicBezTo>
                  <a:pt x="31" y="38"/>
                  <a:pt x="39" y="38"/>
                  <a:pt x="39" y="31"/>
                </a:cubicBezTo>
                <a:cubicBezTo>
                  <a:pt x="39" y="26"/>
                  <a:pt x="39" y="26"/>
                  <a:pt x="39" y="26"/>
                </a:cubicBezTo>
                <a:cubicBezTo>
                  <a:pt x="39" y="25"/>
                  <a:pt x="40" y="24"/>
                  <a:pt x="42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58" y="24"/>
                  <a:pt x="59" y="25"/>
                  <a:pt x="59" y="26"/>
                </a:cubicBezTo>
                <a:lnTo>
                  <a:pt x="59" y="31"/>
                </a:lnTo>
                <a:close/>
                <a:moveTo>
                  <a:pt x="59" y="17"/>
                </a:moveTo>
                <a:cubicBezTo>
                  <a:pt x="59" y="18"/>
                  <a:pt x="58" y="19"/>
                  <a:pt x="56" y="19"/>
                </a:cubicBezTo>
                <a:cubicBezTo>
                  <a:pt x="42" y="19"/>
                  <a:pt x="42" y="19"/>
                  <a:pt x="42" y="19"/>
                </a:cubicBezTo>
                <a:cubicBezTo>
                  <a:pt x="40" y="19"/>
                  <a:pt x="39" y="18"/>
                  <a:pt x="39" y="17"/>
                </a:cubicBezTo>
                <a:cubicBezTo>
                  <a:pt x="39" y="2"/>
                  <a:pt x="39" y="2"/>
                  <a:pt x="39" y="2"/>
                </a:cubicBezTo>
                <a:cubicBezTo>
                  <a:pt x="39" y="1"/>
                  <a:pt x="40" y="0"/>
                  <a:pt x="42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8" y="0"/>
                  <a:pt x="59" y="1"/>
                  <a:pt x="59" y="2"/>
                </a:cubicBezTo>
                <a:lnTo>
                  <a:pt x="59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9" name="Freeform 15">
            <a:extLst>
              <a:ext uri="{FF2B5EF4-FFF2-40B4-BE49-F238E27FC236}">
                <a16:creationId xmlns:a16="http://schemas.microsoft.com/office/drawing/2014/main" id="{8A987E92-9A85-4E9D-3273-1476AB159F15}"/>
              </a:ext>
            </a:extLst>
          </p:cNvPr>
          <p:cNvSpPr>
            <a:spLocks noEditPoints="1"/>
          </p:cNvSpPr>
          <p:nvPr/>
        </p:nvSpPr>
        <p:spPr bwMode="auto">
          <a:xfrm>
            <a:off x="6848475" y="3920808"/>
            <a:ext cx="565150" cy="427037"/>
          </a:xfrm>
          <a:custGeom>
            <a:avLst/>
            <a:gdLst>
              <a:gd name="T0" fmla="*/ 168 w 168"/>
              <a:gd name="T1" fmla="*/ 126 h 126"/>
              <a:gd name="T2" fmla="*/ 0 w 168"/>
              <a:gd name="T3" fmla="*/ 126 h 126"/>
              <a:gd name="T4" fmla="*/ 0 w 168"/>
              <a:gd name="T5" fmla="*/ 0 h 126"/>
              <a:gd name="T6" fmla="*/ 10 w 168"/>
              <a:gd name="T7" fmla="*/ 0 h 126"/>
              <a:gd name="T8" fmla="*/ 10 w 168"/>
              <a:gd name="T9" fmla="*/ 115 h 126"/>
              <a:gd name="T10" fmla="*/ 168 w 168"/>
              <a:gd name="T11" fmla="*/ 115 h 126"/>
              <a:gd name="T12" fmla="*/ 168 w 168"/>
              <a:gd name="T13" fmla="*/ 126 h 126"/>
              <a:gd name="T14" fmla="*/ 54 w 168"/>
              <a:gd name="T15" fmla="*/ 104 h 126"/>
              <a:gd name="T16" fmla="*/ 32 w 168"/>
              <a:gd name="T17" fmla="*/ 104 h 126"/>
              <a:gd name="T18" fmla="*/ 32 w 168"/>
              <a:gd name="T19" fmla="*/ 63 h 126"/>
              <a:gd name="T20" fmla="*/ 54 w 168"/>
              <a:gd name="T21" fmla="*/ 63 h 126"/>
              <a:gd name="T22" fmla="*/ 54 w 168"/>
              <a:gd name="T23" fmla="*/ 104 h 126"/>
              <a:gd name="T24" fmla="*/ 84 w 168"/>
              <a:gd name="T25" fmla="*/ 104 h 126"/>
              <a:gd name="T26" fmla="*/ 64 w 168"/>
              <a:gd name="T27" fmla="*/ 104 h 126"/>
              <a:gd name="T28" fmla="*/ 64 w 168"/>
              <a:gd name="T29" fmla="*/ 19 h 126"/>
              <a:gd name="T30" fmla="*/ 84 w 168"/>
              <a:gd name="T31" fmla="*/ 19 h 126"/>
              <a:gd name="T32" fmla="*/ 84 w 168"/>
              <a:gd name="T33" fmla="*/ 104 h 126"/>
              <a:gd name="T34" fmla="*/ 116 w 168"/>
              <a:gd name="T35" fmla="*/ 104 h 126"/>
              <a:gd name="T36" fmla="*/ 95 w 168"/>
              <a:gd name="T37" fmla="*/ 104 h 126"/>
              <a:gd name="T38" fmla="*/ 95 w 168"/>
              <a:gd name="T39" fmla="*/ 41 h 126"/>
              <a:gd name="T40" fmla="*/ 116 w 168"/>
              <a:gd name="T41" fmla="*/ 41 h 126"/>
              <a:gd name="T42" fmla="*/ 116 w 168"/>
              <a:gd name="T43" fmla="*/ 104 h 126"/>
              <a:gd name="T44" fmla="*/ 147 w 168"/>
              <a:gd name="T45" fmla="*/ 104 h 126"/>
              <a:gd name="T46" fmla="*/ 127 w 168"/>
              <a:gd name="T47" fmla="*/ 104 h 126"/>
              <a:gd name="T48" fmla="*/ 127 w 168"/>
              <a:gd name="T49" fmla="*/ 9 h 126"/>
              <a:gd name="T50" fmla="*/ 147 w 168"/>
              <a:gd name="T51" fmla="*/ 9 h 126"/>
              <a:gd name="T52" fmla="*/ 147 w 168"/>
              <a:gd name="T53" fmla="*/ 104 h 1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68" h="126">
                <a:moveTo>
                  <a:pt x="168" y="126"/>
                </a:moveTo>
                <a:lnTo>
                  <a:pt x="0" y="126"/>
                </a:lnTo>
                <a:lnTo>
                  <a:pt x="0" y="0"/>
                </a:lnTo>
                <a:lnTo>
                  <a:pt x="10" y="0"/>
                </a:lnTo>
                <a:lnTo>
                  <a:pt x="10" y="115"/>
                </a:lnTo>
                <a:lnTo>
                  <a:pt x="168" y="115"/>
                </a:lnTo>
                <a:lnTo>
                  <a:pt x="168" y="126"/>
                </a:lnTo>
                <a:close/>
                <a:moveTo>
                  <a:pt x="54" y="104"/>
                </a:moveTo>
                <a:lnTo>
                  <a:pt x="32" y="104"/>
                </a:lnTo>
                <a:lnTo>
                  <a:pt x="32" y="63"/>
                </a:lnTo>
                <a:lnTo>
                  <a:pt x="54" y="63"/>
                </a:lnTo>
                <a:lnTo>
                  <a:pt x="54" y="104"/>
                </a:lnTo>
                <a:close/>
                <a:moveTo>
                  <a:pt x="84" y="104"/>
                </a:moveTo>
                <a:lnTo>
                  <a:pt x="64" y="104"/>
                </a:lnTo>
                <a:lnTo>
                  <a:pt x="64" y="19"/>
                </a:lnTo>
                <a:lnTo>
                  <a:pt x="84" y="19"/>
                </a:lnTo>
                <a:lnTo>
                  <a:pt x="84" y="104"/>
                </a:lnTo>
                <a:close/>
                <a:moveTo>
                  <a:pt x="116" y="104"/>
                </a:moveTo>
                <a:lnTo>
                  <a:pt x="95" y="104"/>
                </a:lnTo>
                <a:lnTo>
                  <a:pt x="95" y="41"/>
                </a:lnTo>
                <a:lnTo>
                  <a:pt x="116" y="41"/>
                </a:lnTo>
                <a:lnTo>
                  <a:pt x="116" y="104"/>
                </a:lnTo>
                <a:close/>
                <a:moveTo>
                  <a:pt x="147" y="104"/>
                </a:moveTo>
                <a:lnTo>
                  <a:pt x="127" y="104"/>
                </a:lnTo>
                <a:lnTo>
                  <a:pt x="127" y="9"/>
                </a:lnTo>
                <a:lnTo>
                  <a:pt x="147" y="9"/>
                </a:lnTo>
                <a:lnTo>
                  <a:pt x="147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2B1AF5-FF25-E82F-F9AE-E6D8E5E61163}"/>
              </a:ext>
            </a:extLst>
          </p:cNvPr>
          <p:cNvSpPr/>
          <p:nvPr/>
        </p:nvSpPr>
        <p:spPr>
          <a:xfrm>
            <a:off x="6621463" y="4843145"/>
            <a:ext cx="1000125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23FFB3D-A525-13E5-1521-DF90318C317A}"/>
              </a:ext>
            </a:extLst>
          </p:cNvPr>
          <p:cNvSpPr/>
          <p:nvPr/>
        </p:nvSpPr>
        <p:spPr>
          <a:xfrm>
            <a:off x="7714680" y="1269683"/>
            <a:ext cx="4052498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D2E1F4-C2DD-3F6C-7FA2-CB2384AA1914}"/>
              </a:ext>
            </a:extLst>
          </p:cNvPr>
          <p:cNvSpPr/>
          <p:nvPr/>
        </p:nvSpPr>
        <p:spPr>
          <a:xfrm>
            <a:off x="7714680" y="2458720"/>
            <a:ext cx="4052498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50968FA-9EB8-B594-7E17-759ACF724B45}"/>
              </a:ext>
            </a:extLst>
          </p:cNvPr>
          <p:cNvSpPr/>
          <p:nvPr/>
        </p:nvSpPr>
        <p:spPr>
          <a:xfrm>
            <a:off x="7714680" y="3654108"/>
            <a:ext cx="4052498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extBox 86">
            <a:extLst>
              <a:ext uri="{FF2B5EF4-FFF2-40B4-BE49-F238E27FC236}">
                <a16:creationId xmlns:a16="http://schemas.microsoft.com/office/drawing/2014/main" id="{617395B9-8175-BAD3-A390-C993D671EB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1385570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  <a:endParaRPr lang="en-US" altLang="en-US" sz="1200" dirty="0">
              <a:solidFill>
                <a:schemeClr val="bg1"/>
              </a:solidFill>
              <a:latin typeface="+mn-lt"/>
            </a:endParaRP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TextBox 86">
            <a:extLst>
              <a:ext uri="{FF2B5EF4-FFF2-40B4-BE49-F238E27FC236}">
                <a16:creationId xmlns:a16="http://schemas.microsoft.com/office/drawing/2014/main" id="{7771BC72-CDEF-D8C6-E37D-2807ECCA71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2588895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TextBox 86">
            <a:extLst>
              <a:ext uri="{FF2B5EF4-FFF2-40B4-BE49-F238E27FC236}">
                <a16:creationId xmlns:a16="http://schemas.microsoft.com/office/drawing/2014/main" id="{3C8B6A72-C8E3-3185-98C1-A87E635CCE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3765233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CED70A9-5CAD-2822-DE61-6A23A4B05B8E}"/>
              </a:ext>
            </a:extLst>
          </p:cNvPr>
          <p:cNvSpPr/>
          <p:nvPr/>
        </p:nvSpPr>
        <p:spPr>
          <a:xfrm>
            <a:off x="7714680" y="4843145"/>
            <a:ext cx="4052498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TextBox 86">
            <a:extLst>
              <a:ext uri="{FF2B5EF4-FFF2-40B4-BE49-F238E27FC236}">
                <a16:creationId xmlns:a16="http://schemas.microsoft.com/office/drawing/2014/main" id="{64A3BC78-31C1-5768-8405-6BB8B7FC0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4968558"/>
            <a:ext cx="372741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Freeform 173">
            <a:extLst>
              <a:ext uri="{FF2B5EF4-FFF2-40B4-BE49-F238E27FC236}">
                <a16:creationId xmlns:a16="http://schemas.microsoft.com/office/drawing/2014/main" id="{4D22827E-F7E1-440B-468D-C4D75851F0BB}"/>
              </a:ext>
            </a:extLst>
          </p:cNvPr>
          <p:cNvSpPr>
            <a:spLocks noEditPoints="1"/>
          </p:cNvSpPr>
          <p:nvPr/>
        </p:nvSpPr>
        <p:spPr bwMode="auto">
          <a:xfrm>
            <a:off x="6854825" y="5113020"/>
            <a:ext cx="544513" cy="450850"/>
          </a:xfrm>
          <a:custGeom>
            <a:avLst/>
            <a:gdLst>
              <a:gd name="T0" fmla="*/ 366392 w 73"/>
              <a:gd name="T1" fmla="*/ 135187 h 60"/>
              <a:gd name="T2" fmla="*/ 201890 w 73"/>
              <a:gd name="T3" fmla="*/ 292905 h 60"/>
              <a:gd name="T4" fmla="*/ 209367 w 73"/>
              <a:gd name="T5" fmla="*/ 330457 h 60"/>
              <a:gd name="T6" fmla="*/ 194412 w 73"/>
              <a:gd name="T7" fmla="*/ 330457 h 60"/>
              <a:gd name="T8" fmla="*/ 127116 w 73"/>
              <a:gd name="T9" fmla="*/ 322946 h 60"/>
              <a:gd name="T10" fmla="*/ 59819 w 73"/>
              <a:gd name="T11" fmla="*/ 352988 h 60"/>
              <a:gd name="T12" fmla="*/ 74774 w 73"/>
              <a:gd name="T13" fmla="*/ 300415 h 60"/>
              <a:gd name="T14" fmla="*/ 0 w 73"/>
              <a:gd name="T15" fmla="*/ 165228 h 60"/>
              <a:gd name="T16" fmla="*/ 194412 w 73"/>
              <a:gd name="T17" fmla="*/ 0 h 60"/>
              <a:gd name="T18" fmla="*/ 388825 w 73"/>
              <a:gd name="T19" fmla="*/ 135187 h 60"/>
              <a:gd name="T20" fmla="*/ 366392 w 73"/>
              <a:gd name="T21" fmla="*/ 135187 h 60"/>
              <a:gd name="T22" fmla="*/ 127116 w 73"/>
              <a:gd name="T23" fmla="*/ 82614 h 60"/>
              <a:gd name="T24" fmla="*/ 97206 w 73"/>
              <a:gd name="T25" fmla="*/ 105145 h 60"/>
              <a:gd name="T26" fmla="*/ 127116 w 73"/>
              <a:gd name="T27" fmla="*/ 135187 h 60"/>
              <a:gd name="T28" fmla="*/ 149548 w 73"/>
              <a:gd name="T29" fmla="*/ 105145 h 60"/>
              <a:gd name="T30" fmla="*/ 127116 w 73"/>
              <a:gd name="T31" fmla="*/ 82614 h 60"/>
              <a:gd name="T32" fmla="*/ 478553 w 73"/>
              <a:gd name="T33" fmla="*/ 398050 h 60"/>
              <a:gd name="T34" fmla="*/ 493508 w 73"/>
              <a:gd name="T35" fmla="*/ 450623 h 60"/>
              <a:gd name="T36" fmla="*/ 441166 w 73"/>
              <a:gd name="T37" fmla="*/ 420581 h 60"/>
              <a:gd name="T38" fmla="*/ 381347 w 73"/>
              <a:gd name="T39" fmla="*/ 428092 h 60"/>
              <a:gd name="T40" fmla="*/ 216845 w 73"/>
              <a:gd name="T41" fmla="*/ 285395 h 60"/>
              <a:gd name="T42" fmla="*/ 381347 w 73"/>
              <a:gd name="T43" fmla="*/ 150208 h 60"/>
              <a:gd name="T44" fmla="*/ 545850 w 73"/>
              <a:gd name="T45" fmla="*/ 285395 h 60"/>
              <a:gd name="T46" fmla="*/ 478553 w 73"/>
              <a:gd name="T47" fmla="*/ 398050 h 60"/>
              <a:gd name="T48" fmla="*/ 261709 w 73"/>
              <a:gd name="T49" fmla="*/ 82614 h 60"/>
              <a:gd name="T50" fmla="*/ 231799 w 73"/>
              <a:gd name="T51" fmla="*/ 105145 h 60"/>
              <a:gd name="T52" fmla="*/ 261709 w 73"/>
              <a:gd name="T53" fmla="*/ 135187 h 60"/>
              <a:gd name="T54" fmla="*/ 291618 w 73"/>
              <a:gd name="T55" fmla="*/ 105145 h 60"/>
              <a:gd name="T56" fmla="*/ 261709 w 73"/>
              <a:gd name="T57" fmla="*/ 82614 h 60"/>
              <a:gd name="T58" fmla="*/ 329005 w 73"/>
              <a:gd name="T59" fmla="*/ 225312 h 60"/>
              <a:gd name="T60" fmla="*/ 306573 w 73"/>
              <a:gd name="T61" fmla="*/ 247843 h 60"/>
              <a:gd name="T62" fmla="*/ 329005 w 73"/>
              <a:gd name="T63" fmla="*/ 262863 h 60"/>
              <a:gd name="T64" fmla="*/ 351438 w 73"/>
              <a:gd name="T65" fmla="*/ 247843 h 60"/>
              <a:gd name="T66" fmla="*/ 329005 w 73"/>
              <a:gd name="T67" fmla="*/ 225312 h 60"/>
              <a:gd name="T68" fmla="*/ 433689 w 73"/>
              <a:gd name="T69" fmla="*/ 225312 h 60"/>
              <a:gd name="T70" fmla="*/ 411257 w 73"/>
              <a:gd name="T71" fmla="*/ 247843 h 60"/>
              <a:gd name="T72" fmla="*/ 433689 w 73"/>
              <a:gd name="T73" fmla="*/ 262863 h 60"/>
              <a:gd name="T74" fmla="*/ 456121 w 73"/>
              <a:gd name="T75" fmla="*/ 247843 h 60"/>
              <a:gd name="T76" fmla="*/ 433689 w 73"/>
              <a:gd name="T77" fmla="*/ 225312 h 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73" h="60">
                <a:moveTo>
                  <a:pt x="49" y="18"/>
                </a:moveTo>
                <a:cubicBezTo>
                  <a:pt x="37" y="18"/>
                  <a:pt x="27" y="27"/>
                  <a:pt x="27" y="39"/>
                </a:cubicBezTo>
                <a:cubicBezTo>
                  <a:pt x="27" y="41"/>
                  <a:pt x="28" y="42"/>
                  <a:pt x="28" y="44"/>
                </a:cubicBezTo>
                <a:cubicBezTo>
                  <a:pt x="27" y="44"/>
                  <a:pt x="26" y="44"/>
                  <a:pt x="26" y="44"/>
                </a:cubicBezTo>
                <a:cubicBezTo>
                  <a:pt x="22" y="44"/>
                  <a:pt x="20" y="44"/>
                  <a:pt x="17" y="43"/>
                </a:cubicBezTo>
                <a:cubicBezTo>
                  <a:pt x="8" y="47"/>
                  <a:pt x="8" y="47"/>
                  <a:pt x="8" y="47"/>
                </a:cubicBezTo>
                <a:cubicBezTo>
                  <a:pt x="10" y="40"/>
                  <a:pt x="10" y="40"/>
                  <a:pt x="10" y="40"/>
                </a:cubicBezTo>
                <a:cubicBezTo>
                  <a:pt x="4" y="35"/>
                  <a:pt x="0" y="29"/>
                  <a:pt x="0" y="22"/>
                </a:cubicBezTo>
                <a:cubicBezTo>
                  <a:pt x="0" y="10"/>
                  <a:pt x="11" y="0"/>
                  <a:pt x="26" y="0"/>
                </a:cubicBezTo>
                <a:cubicBezTo>
                  <a:pt x="38" y="0"/>
                  <a:pt x="50" y="8"/>
                  <a:pt x="52" y="18"/>
                </a:cubicBezTo>
                <a:cubicBezTo>
                  <a:pt x="51" y="18"/>
                  <a:pt x="50" y="18"/>
                  <a:pt x="49" y="18"/>
                </a:cubicBezTo>
                <a:close/>
                <a:moveTo>
                  <a:pt x="17" y="11"/>
                </a:moveTo>
                <a:cubicBezTo>
                  <a:pt x="15" y="11"/>
                  <a:pt x="13" y="12"/>
                  <a:pt x="13" y="14"/>
                </a:cubicBezTo>
                <a:cubicBezTo>
                  <a:pt x="13" y="16"/>
                  <a:pt x="15" y="18"/>
                  <a:pt x="17" y="18"/>
                </a:cubicBezTo>
                <a:cubicBezTo>
                  <a:pt x="19" y="18"/>
                  <a:pt x="20" y="16"/>
                  <a:pt x="20" y="14"/>
                </a:cubicBezTo>
                <a:cubicBezTo>
                  <a:pt x="20" y="12"/>
                  <a:pt x="19" y="11"/>
                  <a:pt x="17" y="11"/>
                </a:cubicBezTo>
                <a:close/>
                <a:moveTo>
                  <a:pt x="64" y="53"/>
                </a:moveTo>
                <a:cubicBezTo>
                  <a:pt x="66" y="60"/>
                  <a:pt x="66" y="60"/>
                  <a:pt x="66" y="60"/>
                </a:cubicBezTo>
                <a:cubicBezTo>
                  <a:pt x="59" y="56"/>
                  <a:pt x="59" y="56"/>
                  <a:pt x="59" y="56"/>
                </a:cubicBezTo>
                <a:cubicBezTo>
                  <a:pt x="56" y="56"/>
                  <a:pt x="53" y="57"/>
                  <a:pt x="51" y="57"/>
                </a:cubicBezTo>
                <a:cubicBezTo>
                  <a:pt x="39" y="57"/>
                  <a:pt x="29" y="49"/>
                  <a:pt x="29" y="38"/>
                </a:cubicBezTo>
                <a:cubicBezTo>
                  <a:pt x="29" y="28"/>
                  <a:pt x="39" y="20"/>
                  <a:pt x="51" y="20"/>
                </a:cubicBezTo>
                <a:cubicBezTo>
                  <a:pt x="63" y="20"/>
                  <a:pt x="73" y="28"/>
                  <a:pt x="73" y="38"/>
                </a:cubicBezTo>
                <a:cubicBezTo>
                  <a:pt x="73" y="44"/>
                  <a:pt x="69" y="49"/>
                  <a:pt x="64" y="53"/>
                </a:cubicBezTo>
                <a:close/>
                <a:moveTo>
                  <a:pt x="35" y="11"/>
                </a:moveTo>
                <a:cubicBezTo>
                  <a:pt x="33" y="11"/>
                  <a:pt x="31" y="12"/>
                  <a:pt x="31" y="14"/>
                </a:cubicBezTo>
                <a:cubicBezTo>
                  <a:pt x="31" y="16"/>
                  <a:pt x="33" y="18"/>
                  <a:pt x="35" y="18"/>
                </a:cubicBezTo>
                <a:cubicBezTo>
                  <a:pt x="37" y="18"/>
                  <a:pt x="39" y="16"/>
                  <a:pt x="39" y="14"/>
                </a:cubicBezTo>
                <a:cubicBezTo>
                  <a:pt x="39" y="12"/>
                  <a:pt x="37" y="11"/>
                  <a:pt x="35" y="11"/>
                </a:cubicBezTo>
                <a:close/>
                <a:moveTo>
                  <a:pt x="44" y="30"/>
                </a:moveTo>
                <a:cubicBezTo>
                  <a:pt x="42" y="30"/>
                  <a:pt x="41" y="31"/>
                  <a:pt x="41" y="33"/>
                </a:cubicBezTo>
                <a:cubicBezTo>
                  <a:pt x="41" y="34"/>
                  <a:pt x="42" y="35"/>
                  <a:pt x="44" y="35"/>
                </a:cubicBezTo>
                <a:cubicBezTo>
                  <a:pt x="46" y="35"/>
                  <a:pt x="47" y="34"/>
                  <a:pt x="47" y="33"/>
                </a:cubicBezTo>
                <a:cubicBezTo>
                  <a:pt x="47" y="31"/>
                  <a:pt x="46" y="30"/>
                  <a:pt x="44" y="30"/>
                </a:cubicBezTo>
                <a:close/>
                <a:moveTo>
                  <a:pt x="58" y="30"/>
                </a:moveTo>
                <a:cubicBezTo>
                  <a:pt x="57" y="30"/>
                  <a:pt x="55" y="31"/>
                  <a:pt x="55" y="33"/>
                </a:cubicBezTo>
                <a:cubicBezTo>
                  <a:pt x="55" y="34"/>
                  <a:pt x="57" y="35"/>
                  <a:pt x="58" y="35"/>
                </a:cubicBezTo>
                <a:cubicBezTo>
                  <a:pt x="60" y="35"/>
                  <a:pt x="61" y="34"/>
                  <a:pt x="61" y="33"/>
                </a:cubicBezTo>
                <a:cubicBezTo>
                  <a:pt x="61" y="31"/>
                  <a:pt x="60" y="30"/>
                  <a:pt x="58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089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7</TotalTime>
  <Words>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luster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04</cp:revision>
  <dcterms:created xsi:type="dcterms:W3CDTF">2021-03-31T02:49:57Z</dcterms:created>
  <dcterms:modified xsi:type="dcterms:W3CDTF">2025-10-15T08:52:58Z</dcterms:modified>
  <cp:category/>
</cp:coreProperties>
</file>